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9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</p:sldIdLst>
  <p:sldSz cx="18288000" cy="10287000"/>
  <p:notesSz cx="6858000" cy="9144000"/>
  <p:embeddedFontLst>
    <p:embeddedFont>
      <p:font typeface="Raleway" pitchFamily="2" charset="0"/>
      <p:regular r:id="rId10"/>
      <p:bold r:id="rId11"/>
      <p:italic r:id="rId12"/>
      <p:boldItalic r:id="rId13"/>
    </p:embeddedFont>
    <p:embeddedFont>
      <p:font typeface="Roboto Light" panose="02000000000000000000" pitchFamily="2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31" d="100"/>
          <a:sy n="31" d="100"/>
        </p:scale>
        <p:origin x="1128" y="53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US"/>
              <a:t>Based on industry usage reports (2024)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ol Usage (%)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EnCase</c:v>
                </c:pt>
                <c:pt idx="1">
                  <c:v>FTK</c:v>
                </c:pt>
                <c:pt idx="2">
                  <c:v>Autopsy</c:v>
                </c:pt>
                <c:pt idx="3">
                  <c:v>X-Ways</c:v>
                </c:pt>
                <c:pt idx="4">
                  <c:v>Oxygen Forensic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5</c:v>
                </c:pt>
                <c:pt idx="1">
                  <c:v>25</c:v>
                </c:pt>
                <c:pt idx="2">
                  <c:v>15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55-465A-A6B3-C1ECA22A49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t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a-close-up-of-a-window-with-a-building-in-the-background-fyeOxvYvIyY?utm_source=smart%20slides&amp;utm_medium=referral" TargetMode="Externa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purzlbaum?utm_source=smart%20slides&amp;utm_medium=referral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00000"/>
          </a:solidFill>
        </p:spPr>
        <p:txBody>
          <a:bodyPr/>
          <a:lstStyle/>
          <a:p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Calibri"/>
              </a:defRPr>
            </a:pPr>
            <a:r>
              <a:rPr dirty="0"/>
              <a:t>Data Recovery and Evidence Preservation in Digital Forensic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Our Tea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2210030024: A. Sriram</a:t>
            </a:r>
          </a:p>
          <a:p>
            <a:pPr>
              <a:defRPr sz="3600">
                <a:latin typeface="Calibri"/>
              </a:defRPr>
            </a:pPr>
            <a:r>
              <a:t>2210030004: P. Dinakar</a:t>
            </a:r>
          </a:p>
          <a:p>
            <a:pPr>
              <a:defRPr sz="3600">
                <a:latin typeface="Calibri"/>
              </a:defRPr>
            </a:pPr>
            <a:r>
              <a:t>2210030078: N. Varun</a:t>
            </a:r>
          </a:p>
          <a:p>
            <a:pPr>
              <a:defRPr sz="3600">
                <a:latin typeface="Calibri"/>
              </a:defRPr>
            </a:pPr>
            <a:r>
              <a:t>2210030181: Y. Mokshagna</a:t>
            </a:r>
          </a:p>
          <a:p>
            <a:pPr>
              <a:defRPr sz="3600">
                <a:latin typeface="Calibri"/>
              </a:defRPr>
            </a:pPr>
            <a:r>
              <a:t>2210030204: N. Praneeth</a:t>
            </a:r>
          </a:p>
        </p:txBody>
      </p:sp>
      <p:pic>
        <p:nvPicPr>
          <p:cNvPr id="5" name="Picture Placeholder 4" descr="fyeOxvYvIyY.jpg"/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30401" r="3040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a close up of a window with a building in the background</a:t>
            </a:r>
          </a:p>
          <a:p>
            <a:r>
              <a:rPr>
                <a:hlinkClick r:id="rId4"/>
              </a:rPr>
              <a:t>Photo by Claudio Schwarz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muOHbrFGEQY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7812" b="78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ata recovery involves retrieving inaccessible, lost, corrupted, or formatted data from storage devices.</a:t>
            </a:r>
          </a:p>
          <a:p>
            <a:pPr>
              <a:defRPr sz="3600">
                <a:latin typeface="Calibri"/>
              </a:defRPr>
            </a:pPr>
            <a:r>
              <a:t>In digital forensics, it's crucial for uncovering hidden or deleted information for investiga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What is Data Recovery?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• Disk Imaging &amp; Cloning: Creating exact copies to preserve original evidence.</a:t>
            </a:r>
          </a:p>
        </p:txBody>
      </p:sp>
      <p:pic>
        <p:nvPicPr>
          <p:cNvPr id="5" name="Picture Placeholder 4" descr="oyXis2kALVg.jpg"/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 l="12500" r="12500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• Physical Recovery: Accessing data from damaged hardware using specialized tools.</a:t>
            </a:r>
          </a:p>
        </p:txBody>
      </p:sp>
      <p:pic>
        <p:nvPicPr>
          <p:cNvPr id="7" name="Picture Placeholder 6" descr="oyXis2kALVg.jpg"/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l="12500" r="12500"/>
          <a:stretch>
            <a:fillRect/>
          </a:stretch>
        </p:blipFill>
        <p:spPr/>
      </p:pic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• Logical Recovery: Accessing data using software when the device is functional.</a:t>
            </a:r>
          </a:p>
        </p:txBody>
      </p:sp>
      <p:pic>
        <p:nvPicPr>
          <p:cNvPr id="9" name="Picture Placeholder 8" descr="oyXis2kALVg.jpg"/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12500" r="12500"/>
          <a:stretch>
            <a:fillRect/>
          </a:stretch>
        </p:blipFill>
        <p:spPr/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Techniques of Data Recovery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0VGG7cqTwCo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Preserving digital evidence is critical to maintaining its integrity and admissibility in court.</a:t>
            </a:r>
          </a:p>
          <a:p>
            <a:pPr>
              <a:defRPr sz="3600">
                <a:latin typeface="Calibri"/>
              </a:defRPr>
            </a:pPr>
            <a:r>
              <a:rPr dirty="0"/>
              <a:t>Key principles include maintaining chain of custody, write-blocking, and using forensic imag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Preservation of Digital Evid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2D5CF7-9CC2-E2B5-EF93-4DD93AE37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40" y="9225726"/>
            <a:ext cx="3783616" cy="75094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Popular tools in digital forensics and their estimated market shar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Tools Used in Forensic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Market Share of Digital Forensic Tool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Source: ForensicTech Insights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950399" y="3430799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m_HRfLhgABo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0626" r="10626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084" y="4410635"/>
            <a:ext cx="4312467" cy="5029928"/>
          </a:xfrm>
        </p:spPr>
        <p:txBody>
          <a:bodyPr>
            <a:normAutofit fontScale="77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/>
              <a:t>• Encrypted devices and secure communication apps pose recovery difficult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• Cloud forensics introduces jurisdictional and data access complexit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• Advancements in AI and automation may reshape forensic investiga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Challenges and Future of Digital Forensic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458012-B1DC-365A-C466-3750BB82A2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492" y="9440563"/>
            <a:ext cx="3783616" cy="75094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5</TotalTime>
  <Words>242</Words>
  <Application>Microsoft Office PowerPoint</Application>
  <PresentationFormat>Custom</PresentationFormat>
  <Paragraphs>2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Raleway</vt:lpstr>
      <vt:lpstr>Arial</vt:lpstr>
      <vt:lpstr>Calibri</vt:lpstr>
      <vt:lpstr>Roboto Light</vt:lpstr>
      <vt:lpstr>Smart Slides v1</vt:lpstr>
      <vt:lpstr>think-cell Slide</vt:lpstr>
      <vt:lpstr>Data Recovery and Evidence Preservation in Digital Forensics</vt:lpstr>
      <vt:lpstr>Our Team</vt:lpstr>
      <vt:lpstr>What is Data Recovery?</vt:lpstr>
      <vt:lpstr>Techniques of Data Recovery</vt:lpstr>
      <vt:lpstr>Preservation of Digital Evidence</vt:lpstr>
      <vt:lpstr>Tools Used in Forensics</vt:lpstr>
      <vt:lpstr>Challenges and Future of Digital Forensic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varun</dc:creator>
  <cp:lastModifiedBy>varun9441@outlook.com</cp:lastModifiedBy>
  <cp:revision>64</cp:revision>
  <dcterms:modified xsi:type="dcterms:W3CDTF">2025-04-23T08:18:46Z</dcterms:modified>
</cp:coreProperties>
</file>